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027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192" userDrawn="1">
          <p15:clr>
            <a:srgbClr val="A4A3A4"/>
          </p15:clr>
        </p15:guide>
        <p15:guide id="3" pos="7469" userDrawn="1">
          <p15:clr>
            <a:srgbClr val="A4A3A4"/>
          </p15:clr>
        </p15:guide>
        <p15:guide id="4" pos="386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FBDD8"/>
    <a:srgbClr val="054990"/>
    <a:srgbClr val="0C0B45"/>
    <a:srgbClr val="81A4CC"/>
    <a:srgbClr val="23569B"/>
    <a:srgbClr val="387BB7"/>
    <a:srgbClr val="9EB7E5"/>
    <a:srgbClr val="D9D9D9"/>
    <a:srgbClr val="090C9B"/>
    <a:srgbClr val="3066B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694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1296" y="78"/>
      </p:cViewPr>
      <p:guideLst>
        <p:guide orient="horz" pos="2160"/>
        <p:guide pos="192"/>
        <p:guide pos="7469"/>
        <p:guide pos="3864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>
      <p:cViewPr varScale="1">
        <p:scale>
          <a:sx n="62" d="100"/>
          <a:sy n="62" d="100"/>
        </p:scale>
        <p:origin x="3154" y="4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6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6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2588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FC4A6DC3-43E5-2BE0-A8FA-14D095567573}"/>
              </a:ext>
            </a:extLst>
          </p:cNvPr>
          <p:cNvSpPr/>
          <p:nvPr userDrawn="1"/>
        </p:nvSpPr>
        <p:spPr>
          <a:xfrm>
            <a:off x="5412708" y="0"/>
            <a:ext cx="6779292" cy="6858000"/>
          </a:xfrm>
          <a:custGeom>
            <a:avLst/>
            <a:gdLst>
              <a:gd name="connsiteX0" fmla="*/ 762028 w 6779292"/>
              <a:gd name="connsiteY0" fmla="*/ 0 h 6858000"/>
              <a:gd name="connsiteX1" fmla="*/ 4920012 w 6779292"/>
              <a:gd name="connsiteY1" fmla="*/ 0 h 6858000"/>
              <a:gd name="connsiteX2" fmla="*/ 4998692 w 6779292"/>
              <a:gd name="connsiteY2" fmla="*/ 0 h 6858000"/>
              <a:gd name="connsiteX3" fmla="*/ 6779292 w 6779292"/>
              <a:gd name="connsiteY3" fmla="*/ 0 h 6858000"/>
              <a:gd name="connsiteX4" fmla="*/ 6779292 w 6779292"/>
              <a:gd name="connsiteY4" fmla="*/ 2286000 h 6858000"/>
              <a:gd name="connsiteX5" fmla="*/ 6779292 w 6779292"/>
              <a:gd name="connsiteY5" fmla="*/ 4572000 h 6858000"/>
              <a:gd name="connsiteX6" fmla="*/ 6779292 w 6779292"/>
              <a:gd name="connsiteY6" fmla="*/ 6858000 h 6858000"/>
              <a:gd name="connsiteX7" fmla="*/ 0 w 6779292"/>
              <a:gd name="connsiteY7" fmla="*/ 6858000 h 6858000"/>
              <a:gd name="connsiteX8" fmla="*/ 0 w 6779292"/>
              <a:gd name="connsiteY8" fmla="*/ 5943572 h 6858000"/>
              <a:gd name="connsiteX9" fmla="*/ 0 w 6779292"/>
              <a:gd name="connsiteY9" fmla="*/ 2286000 h 6858000"/>
              <a:gd name="connsiteX10" fmla="*/ 0 w 6779292"/>
              <a:gd name="connsiteY10" fmla="*/ 762028 h 6858000"/>
              <a:gd name="connsiteX11" fmla="*/ 762028 w 6779292"/>
              <a:gd name="connsiteY11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779292" h="6858000">
                <a:moveTo>
                  <a:pt x="762028" y="0"/>
                </a:moveTo>
                <a:lnTo>
                  <a:pt x="4920012" y="0"/>
                </a:lnTo>
                <a:lnTo>
                  <a:pt x="4998692" y="0"/>
                </a:lnTo>
                <a:lnTo>
                  <a:pt x="6779292" y="0"/>
                </a:lnTo>
                <a:lnTo>
                  <a:pt x="6779292" y="2286000"/>
                </a:lnTo>
                <a:lnTo>
                  <a:pt x="6779292" y="4572000"/>
                </a:lnTo>
                <a:lnTo>
                  <a:pt x="6779292" y="6858000"/>
                </a:lnTo>
                <a:lnTo>
                  <a:pt x="0" y="6858000"/>
                </a:lnTo>
                <a:lnTo>
                  <a:pt x="0" y="5943572"/>
                </a:lnTo>
                <a:lnTo>
                  <a:pt x="0" y="2286000"/>
                </a:lnTo>
                <a:lnTo>
                  <a:pt x="0" y="762028"/>
                </a:lnTo>
                <a:cubicBezTo>
                  <a:pt x="0" y="341172"/>
                  <a:pt x="341172" y="0"/>
                  <a:pt x="762028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608BA72E-4191-93ED-5F63-70653097CA4A}"/>
              </a:ext>
            </a:extLst>
          </p:cNvPr>
          <p:cNvSpPr/>
          <p:nvPr userDrawn="1"/>
        </p:nvSpPr>
        <p:spPr>
          <a:xfrm>
            <a:off x="10632898" y="-19404"/>
            <a:ext cx="1559102" cy="1924468"/>
          </a:xfrm>
          <a:custGeom>
            <a:avLst/>
            <a:gdLst>
              <a:gd name="connsiteX0" fmla="*/ 46683 w 1559102"/>
              <a:gd name="connsiteY0" fmla="*/ 0 h 1924468"/>
              <a:gd name="connsiteX1" fmla="*/ 648526 w 1559102"/>
              <a:gd name="connsiteY1" fmla="*/ 0 h 1924468"/>
              <a:gd name="connsiteX2" fmla="*/ 618867 w 1559102"/>
              <a:gd name="connsiteY2" fmla="*/ 81034 h 1924468"/>
              <a:gd name="connsiteX3" fmla="*/ 574909 w 1559102"/>
              <a:gd name="connsiteY3" fmla="*/ 371792 h 1924468"/>
              <a:gd name="connsiteX4" fmla="*/ 1552675 w 1559102"/>
              <a:gd name="connsiteY4" fmla="*/ 1349558 h 1924468"/>
              <a:gd name="connsiteX5" fmla="*/ 1559102 w 1559102"/>
              <a:gd name="connsiteY5" fmla="*/ 1349233 h 1924468"/>
              <a:gd name="connsiteX6" fmla="*/ 1559102 w 1559102"/>
              <a:gd name="connsiteY6" fmla="*/ 1924144 h 1924468"/>
              <a:gd name="connsiteX7" fmla="*/ 1552676 w 1559102"/>
              <a:gd name="connsiteY7" fmla="*/ 1924468 h 1924468"/>
              <a:gd name="connsiteX8" fmla="*/ 0 w 1559102"/>
              <a:gd name="connsiteY8" fmla="*/ 371793 h 1924468"/>
              <a:gd name="connsiteX9" fmla="*/ 31545 w 1559102"/>
              <a:gd name="connsiteY9" fmla="*/ 58874 h 19244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59102" h="1924468">
                <a:moveTo>
                  <a:pt x="46683" y="0"/>
                </a:moveTo>
                <a:lnTo>
                  <a:pt x="648526" y="0"/>
                </a:lnTo>
                <a:lnTo>
                  <a:pt x="618867" y="81034"/>
                </a:lnTo>
                <a:cubicBezTo>
                  <a:pt x="590299" y="172884"/>
                  <a:pt x="574909" y="270541"/>
                  <a:pt x="574909" y="371792"/>
                </a:cubicBezTo>
                <a:cubicBezTo>
                  <a:pt x="574909" y="911797"/>
                  <a:pt x="1012670" y="1349558"/>
                  <a:pt x="1552675" y="1349558"/>
                </a:cubicBezTo>
                <a:lnTo>
                  <a:pt x="1559102" y="1349233"/>
                </a:lnTo>
                <a:lnTo>
                  <a:pt x="1559102" y="1924144"/>
                </a:lnTo>
                <a:lnTo>
                  <a:pt x="1552676" y="1924468"/>
                </a:lnTo>
                <a:cubicBezTo>
                  <a:pt x="695157" y="1924468"/>
                  <a:pt x="0" y="1229312"/>
                  <a:pt x="0" y="371793"/>
                </a:cubicBezTo>
                <a:cubicBezTo>
                  <a:pt x="0" y="264603"/>
                  <a:pt x="10862" y="159950"/>
                  <a:pt x="31545" y="58874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6014405" y="2891616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527130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12813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Google Shape;317;p72">
            <a:extLst>
              <a:ext uri="{FF2B5EF4-FFF2-40B4-BE49-F238E27FC236}">
                <a16:creationId xmlns:a16="http://schemas.microsoft.com/office/drawing/2014/main" id="{B0B24D8E-B221-BCE6-395F-D87EA1F5C0D0}"/>
              </a:ext>
            </a:extLst>
          </p:cNvPr>
          <p:cNvSpPr/>
          <p:nvPr userDrawn="1"/>
        </p:nvSpPr>
        <p:spPr>
          <a:xfrm>
            <a:off x="2786" y="1967"/>
            <a:ext cx="12189215" cy="5132220"/>
          </a:xfrm>
          <a:custGeom>
            <a:avLst/>
            <a:gdLst/>
            <a:ahLst/>
            <a:cxnLst/>
            <a:rect l="l" t="t" r="r" b="b"/>
            <a:pathLst>
              <a:path w="9143999" h="4734198" extrusionOk="0">
                <a:moveTo>
                  <a:pt x="0" y="0"/>
                </a:moveTo>
                <a:lnTo>
                  <a:pt x="9143999" y="0"/>
                </a:lnTo>
                <a:lnTo>
                  <a:pt x="9143999" y="4734198"/>
                </a:lnTo>
                <a:lnTo>
                  <a:pt x="5973097" y="4719484"/>
                </a:lnTo>
                <a:cubicBezTo>
                  <a:pt x="5685504" y="4751439"/>
                  <a:pt x="5493774" y="4650657"/>
                  <a:pt x="5375788" y="4409767"/>
                </a:cubicBezTo>
                <a:lnTo>
                  <a:pt x="3554362" y="1113503"/>
                </a:lnTo>
                <a:cubicBezTo>
                  <a:pt x="3419169" y="857864"/>
                  <a:pt x="3202858" y="771832"/>
                  <a:pt x="2993923" y="766916"/>
                </a:cubicBezTo>
                <a:lnTo>
                  <a:pt x="0" y="766916"/>
                </a:ln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sym typeface="Arial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480380" y="3771292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7C6E95C-F9B2-31ED-1261-5E82E52231DC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09622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214655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137BB06-460E-4EE0-8DF4-57C378BE2D90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540545" y="6650296"/>
            <a:ext cx="1651455" cy="207076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1200">
                <a:solidFill>
                  <a:schemeClr val="bg1"/>
                </a:solidFill>
                <a:latin typeface="Crimson Pro" pitchFamily="2" charset="0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-1" y="1"/>
            <a:ext cx="419099" cy="167640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72C63254-3ED3-7F4A-55ED-77911D6BFA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23069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Google Shape;126;p8">
            <a:extLst>
              <a:ext uri="{FF2B5EF4-FFF2-40B4-BE49-F238E27FC236}">
                <a16:creationId xmlns:a16="http://schemas.microsoft.com/office/drawing/2014/main" id="{42B1C2E2-410D-4178-8707-30E8CFC13D66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AB4896-8513-49B3-883C-8C8E512092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9099" y="2694530"/>
            <a:ext cx="11329205" cy="734470"/>
          </a:xfrm>
          <a:prstGeom prst="rect">
            <a:avLst/>
          </a:prstGeom>
        </p:spPr>
        <p:txBody>
          <a:bodyPr vert="horz"/>
          <a:lstStyle>
            <a:lvl1pPr>
              <a:defRPr sz="5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01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E0ED0066-C241-49ED-89D6-10AD2C4C22C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099" y="3521558"/>
            <a:ext cx="11283166" cy="43492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800" b="1">
                <a:solidFill>
                  <a:schemeClr val="accent1"/>
                </a:solidFill>
                <a:latin typeface="+mn-lt"/>
              </a:defRPr>
            </a:lvl1pPr>
            <a:lvl2pPr marL="457200" indent="0">
              <a:buFontTx/>
              <a:buNone/>
              <a:defRPr b="1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Divider title</a:t>
            </a:r>
          </a:p>
        </p:txBody>
      </p:sp>
    </p:spTree>
    <p:extLst>
      <p:ext uri="{BB962C8B-B14F-4D97-AF65-F5344CB8AC3E}">
        <p14:creationId xmlns:p14="http://schemas.microsoft.com/office/powerpoint/2010/main" val="19730136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70" imgH="469" progId="TCLayout.ActiveDocument.1">
                  <p:embed/>
                </p:oleObj>
              </mc:Choice>
              <mc:Fallback>
                <p:oleObj name="think-cell Slide" r:id="rId7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49" r:id="rId3"/>
    <p:sldLayoutId id="2147483655" r:id="rId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7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684B6A5-2AEB-7DB1-EE04-1A1767D9B2C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575C1DB4-5A5B-F45E-7A8E-96B738336D7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75C1DB4-5A5B-F45E-7A8E-96B738336D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892D56F-94D6-1AE2-F115-4202C33314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Circ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3F547BD-982A-2E7B-AC83-4211F3D76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22" name="AutoShape 18">
            <a:extLst>
              <a:ext uri="{FF2B5EF4-FFF2-40B4-BE49-F238E27FC236}">
                <a16:creationId xmlns:a16="http://schemas.microsoft.com/office/drawing/2014/main" id="{598B4920-9963-BBBF-AC6B-4229490F439A}"/>
              </a:ext>
            </a:extLst>
          </p:cNvPr>
          <p:cNvSpPr>
            <a:spLocks/>
          </p:cNvSpPr>
          <p:nvPr/>
        </p:nvSpPr>
        <p:spPr bwMode="auto">
          <a:xfrm rot="10800000">
            <a:off x="4329704" y="1788093"/>
            <a:ext cx="3535218" cy="1184613"/>
          </a:xfrm>
          <a:custGeom>
            <a:avLst/>
            <a:gdLst>
              <a:gd name="T0" fmla="*/ 10800 w 21600"/>
              <a:gd name="T1" fmla="+- 0 12261 2923"/>
              <a:gd name="T2" fmla="*/ 12261 h 18677"/>
              <a:gd name="T3" fmla="*/ 10800 w 21600"/>
              <a:gd name="T4" fmla="+- 0 12261 2923"/>
              <a:gd name="T5" fmla="*/ 12261 h 18677"/>
              <a:gd name="T6" fmla="*/ 10800 w 21600"/>
              <a:gd name="T7" fmla="+- 0 12261 2923"/>
              <a:gd name="T8" fmla="*/ 12261 h 18677"/>
              <a:gd name="T9" fmla="*/ 10800 w 21600"/>
              <a:gd name="T10" fmla="+- 0 12261 2923"/>
              <a:gd name="T11" fmla="*/ 12261 h 18677"/>
            </a:gdLst>
            <a:ahLst/>
            <a:cxnLst>
              <a:cxn ang="0">
                <a:pos x="T0" y="T2"/>
              </a:cxn>
              <a:cxn ang="0">
                <a:pos x="T3" y="T5"/>
              </a:cxn>
              <a:cxn ang="0">
                <a:pos x="T6" y="T8"/>
              </a:cxn>
              <a:cxn ang="0">
                <a:pos x="T9" y="T11"/>
              </a:cxn>
            </a:cxnLst>
            <a:rect l="0" t="0" r="r" b="b"/>
            <a:pathLst>
              <a:path w="21600" h="18677">
                <a:moveTo>
                  <a:pt x="0" y="18677"/>
                </a:moveTo>
                <a:cubicBezTo>
                  <a:pt x="565" y="14923"/>
                  <a:pt x="1448" y="11555"/>
                  <a:pt x="2560" y="8730"/>
                </a:cubicBezTo>
                <a:cubicBezTo>
                  <a:pt x="7135" y="-2897"/>
                  <a:pt x="14475" y="-2923"/>
                  <a:pt x="19040" y="8730"/>
                </a:cubicBezTo>
                <a:cubicBezTo>
                  <a:pt x="20185" y="11651"/>
                  <a:pt x="21048" y="15035"/>
                  <a:pt x="21600" y="18677"/>
                </a:cubicBezTo>
              </a:path>
            </a:pathLst>
          </a:custGeom>
          <a:noFill/>
          <a:ln w="50800" cap="flat" cmpd="sng">
            <a:solidFill>
              <a:schemeClr val="accent6"/>
            </a:solidFill>
            <a:prstDash val="solid"/>
            <a:miter lim="4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50800" tIns="50800" rIns="50800" bIns="50800" anchor="ctr"/>
          <a:lstStyle/>
          <a:p>
            <a:endParaRPr lang="en-US" altLang="en-US" sz="2400" dirty="0">
              <a:solidFill>
                <a:schemeClr val="tx1">
                  <a:lumMod val="50000"/>
                </a:schemeClr>
              </a:solidFill>
              <a:latin typeface="Arial" panose="020B0604020202020204" pitchFamily="34" charset="0"/>
              <a:ea typeface="Helvetica Light" panose="020B0403020202020204" pitchFamily="34" charset="0"/>
              <a:cs typeface="Arial" panose="020B0604020202020204" pitchFamily="34" charset="0"/>
              <a:sym typeface="Helvetica Light" panose="020B0403020202020204" pitchFamily="34" charset="0"/>
            </a:endParaRPr>
          </a:p>
        </p:txBody>
      </p:sp>
      <p:sp>
        <p:nvSpPr>
          <p:cNvPr id="23" name="Oval 19">
            <a:extLst>
              <a:ext uri="{FF2B5EF4-FFF2-40B4-BE49-F238E27FC236}">
                <a16:creationId xmlns:a16="http://schemas.microsoft.com/office/drawing/2014/main" id="{85D4AC8B-D418-0FD9-1A8B-435501BF1CDF}"/>
              </a:ext>
            </a:extLst>
          </p:cNvPr>
          <p:cNvSpPr>
            <a:spLocks/>
          </p:cNvSpPr>
          <p:nvPr/>
        </p:nvSpPr>
        <p:spPr bwMode="auto">
          <a:xfrm rot="10800000">
            <a:off x="5981017" y="2862434"/>
            <a:ext cx="232592" cy="232582"/>
          </a:xfrm>
          <a:prstGeom prst="ellipse">
            <a:avLst/>
          </a:prstGeom>
          <a:solidFill>
            <a:schemeClr val="accent3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 cap="flat" cmpd="sng">
                <a:solidFill>
                  <a:srgbClr val="000000"/>
                </a:solidFill>
                <a:prstDash val="solid"/>
                <a:miter lim="4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50800" tIns="50800" rIns="50800" bIns="50800" anchor="ctr"/>
          <a:lstStyle/>
          <a:p>
            <a:endParaRPr lang="en-US" altLang="en-US" sz="2400" dirty="0">
              <a:solidFill>
                <a:schemeClr val="tx1">
                  <a:lumMod val="50000"/>
                </a:schemeClr>
              </a:solidFill>
              <a:latin typeface="Arial" panose="020B0604020202020204" pitchFamily="34" charset="0"/>
              <a:ea typeface="Helvetica Light" panose="020B0403020202020204" pitchFamily="34" charset="0"/>
              <a:cs typeface="Arial" panose="020B0604020202020204" pitchFamily="34" charset="0"/>
              <a:sym typeface="Helvetica Light" panose="020B0403020202020204" pitchFamily="34" charset="0"/>
            </a:endParaRPr>
          </a:p>
        </p:txBody>
      </p:sp>
      <p:sp>
        <p:nvSpPr>
          <p:cNvPr id="24" name="Oval 21">
            <a:extLst>
              <a:ext uri="{FF2B5EF4-FFF2-40B4-BE49-F238E27FC236}">
                <a16:creationId xmlns:a16="http://schemas.microsoft.com/office/drawing/2014/main" id="{F6D8942B-B9A3-495F-CC24-53066F2A9064}"/>
              </a:ext>
            </a:extLst>
          </p:cNvPr>
          <p:cNvSpPr>
            <a:spLocks/>
          </p:cNvSpPr>
          <p:nvPr/>
        </p:nvSpPr>
        <p:spPr bwMode="auto">
          <a:xfrm rot="10800000">
            <a:off x="7095646" y="2499924"/>
            <a:ext cx="232592" cy="232582"/>
          </a:xfrm>
          <a:prstGeom prst="ellipse">
            <a:avLst/>
          </a:prstGeom>
          <a:solidFill>
            <a:schemeClr val="accent4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 cap="flat" cmpd="sng">
                <a:solidFill>
                  <a:srgbClr val="000000"/>
                </a:solidFill>
                <a:prstDash val="solid"/>
                <a:miter lim="4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50800" tIns="50800" rIns="50800" bIns="50800" anchor="ctr"/>
          <a:lstStyle/>
          <a:p>
            <a:endParaRPr lang="en-US" altLang="en-US" sz="2400" dirty="0">
              <a:solidFill>
                <a:schemeClr val="tx1">
                  <a:lumMod val="50000"/>
                </a:schemeClr>
              </a:solidFill>
              <a:latin typeface="Arial" panose="020B0604020202020204" pitchFamily="34" charset="0"/>
              <a:ea typeface="Helvetica Light" panose="020B0403020202020204" pitchFamily="34" charset="0"/>
              <a:cs typeface="Arial" panose="020B0604020202020204" pitchFamily="34" charset="0"/>
              <a:sym typeface="Helvetica Light" panose="020B0403020202020204" pitchFamily="34" charset="0"/>
            </a:endParaRPr>
          </a:p>
        </p:txBody>
      </p:sp>
      <p:sp>
        <p:nvSpPr>
          <p:cNvPr id="25" name="Oval 23">
            <a:extLst>
              <a:ext uri="{FF2B5EF4-FFF2-40B4-BE49-F238E27FC236}">
                <a16:creationId xmlns:a16="http://schemas.microsoft.com/office/drawing/2014/main" id="{F729D0B2-DCCD-C435-AE32-0341373C0DEC}"/>
              </a:ext>
            </a:extLst>
          </p:cNvPr>
          <p:cNvSpPr>
            <a:spLocks/>
          </p:cNvSpPr>
          <p:nvPr/>
        </p:nvSpPr>
        <p:spPr bwMode="auto">
          <a:xfrm rot="10800000">
            <a:off x="4866389" y="2499924"/>
            <a:ext cx="232592" cy="232582"/>
          </a:xfrm>
          <a:prstGeom prst="ellipse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 cap="flat" cmpd="sng">
                <a:solidFill>
                  <a:srgbClr val="000000"/>
                </a:solidFill>
                <a:prstDash val="solid"/>
                <a:miter lim="4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50800" tIns="50800" rIns="50800" bIns="50800" anchor="ctr"/>
          <a:lstStyle/>
          <a:p>
            <a:endParaRPr lang="en-US" altLang="en-US" sz="2400" dirty="0">
              <a:solidFill>
                <a:schemeClr val="tx1">
                  <a:lumMod val="50000"/>
                </a:schemeClr>
              </a:solidFill>
              <a:latin typeface="Arial" panose="020B0604020202020204" pitchFamily="34" charset="0"/>
              <a:ea typeface="Helvetica Light" panose="020B0403020202020204" pitchFamily="34" charset="0"/>
              <a:cs typeface="Arial" panose="020B0604020202020204" pitchFamily="34" charset="0"/>
              <a:sym typeface="Helvetica Light" panose="020B0403020202020204" pitchFamily="34" charset="0"/>
            </a:endParaRPr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BBE9D385-E5FC-F64A-5452-B5F20BE4F921}"/>
              </a:ext>
            </a:extLst>
          </p:cNvPr>
          <p:cNvSpPr>
            <a:spLocks/>
          </p:cNvSpPr>
          <p:nvPr/>
        </p:nvSpPr>
        <p:spPr bwMode="auto">
          <a:xfrm rot="10800000">
            <a:off x="4178133" y="1556314"/>
            <a:ext cx="232592" cy="232582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 cap="flat" cmpd="sng">
                <a:solidFill>
                  <a:srgbClr val="000000"/>
                </a:solidFill>
                <a:prstDash val="solid"/>
                <a:miter lim="4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50800" tIns="50800" rIns="50800" bIns="50800" anchor="ctr"/>
          <a:lstStyle/>
          <a:p>
            <a:endParaRPr lang="en-US" altLang="en-US" sz="2400" dirty="0">
              <a:solidFill>
                <a:schemeClr val="tx1">
                  <a:lumMod val="50000"/>
                </a:schemeClr>
              </a:solidFill>
              <a:latin typeface="Arial" panose="020B0604020202020204" pitchFamily="34" charset="0"/>
              <a:ea typeface="Helvetica Light" panose="020B0403020202020204" pitchFamily="34" charset="0"/>
              <a:cs typeface="Arial" panose="020B0604020202020204" pitchFamily="34" charset="0"/>
              <a:sym typeface="Helvetica Light" panose="020B0403020202020204" pitchFamily="34" charset="0"/>
            </a:endParaRPr>
          </a:p>
        </p:txBody>
      </p:sp>
      <p:sp>
        <p:nvSpPr>
          <p:cNvPr id="27" name="Oval 27">
            <a:extLst>
              <a:ext uri="{FF2B5EF4-FFF2-40B4-BE49-F238E27FC236}">
                <a16:creationId xmlns:a16="http://schemas.microsoft.com/office/drawing/2014/main" id="{10FF5FF7-8AD6-BCC3-0BBA-AB716C98324C}"/>
              </a:ext>
            </a:extLst>
          </p:cNvPr>
          <p:cNvSpPr>
            <a:spLocks/>
          </p:cNvSpPr>
          <p:nvPr/>
        </p:nvSpPr>
        <p:spPr bwMode="auto">
          <a:xfrm rot="10800000">
            <a:off x="7783903" y="1556314"/>
            <a:ext cx="232592" cy="232582"/>
          </a:xfrm>
          <a:prstGeom prst="ellipse">
            <a:avLst/>
          </a:prstGeom>
          <a:solidFill>
            <a:schemeClr val="accent5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 cap="flat" cmpd="sng">
                <a:solidFill>
                  <a:srgbClr val="000000"/>
                </a:solidFill>
                <a:prstDash val="solid"/>
                <a:miter lim="4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50800" tIns="50800" rIns="50800" bIns="50800" anchor="ctr"/>
          <a:lstStyle/>
          <a:p>
            <a:endParaRPr lang="en-US" altLang="en-US" sz="2400" dirty="0">
              <a:solidFill>
                <a:schemeClr val="tx1">
                  <a:lumMod val="50000"/>
                </a:schemeClr>
              </a:solidFill>
              <a:latin typeface="Arial" panose="020B0604020202020204" pitchFamily="34" charset="0"/>
              <a:ea typeface="Helvetica Light" panose="020B0403020202020204" pitchFamily="34" charset="0"/>
              <a:cs typeface="Arial" panose="020B0604020202020204" pitchFamily="34" charset="0"/>
              <a:sym typeface="Helvetica Light" panose="020B0403020202020204" pitchFamily="34" charset="0"/>
            </a:endParaRPr>
          </a:p>
        </p:txBody>
      </p:sp>
      <p:sp>
        <p:nvSpPr>
          <p:cNvPr id="28" name="AutoShape 31">
            <a:extLst>
              <a:ext uri="{FF2B5EF4-FFF2-40B4-BE49-F238E27FC236}">
                <a16:creationId xmlns:a16="http://schemas.microsoft.com/office/drawing/2014/main" id="{18CFC6B2-EC76-F984-2D9A-80A966E1CAC1}"/>
              </a:ext>
            </a:extLst>
          </p:cNvPr>
          <p:cNvSpPr>
            <a:spLocks/>
          </p:cNvSpPr>
          <p:nvPr/>
        </p:nvSpPr>
        <p:spPr bwMode="auto">
          <a:xfrm rot="10800000">
            <a:off x="5488095" y="3231401"/>
            <a:ext cx="1218436" cy="1369357"/>
          </a:xfrm>
          <a:custGeom>
            <a:avLst/>
            <a:gdLst>
              <a:gd name="T0" fmla="+- 0 10800 961"/>
              <a:gd name="T1" fmla="*/ T0 w 19679"/>
              <a:gd name="T2" fmla="*/ 10800 h 21600"/>
              <a:gd name="T3" fmla="+- 0 10800 961"/>
              <a:gd name="T4" fmla="*/ T3 w 19679"/>
              <a:gd name="T5" fmla="*/ 10800 h 21600"/>
              <a:gd name="T6" fmla="+- 0 10800 961"/>
              <a:gd name="T7" fmla="*/ T6 w 19679"/>
              <a:gd name="T8" fmla="*/ 10800 h 21600"/>
              <a:gd name="T9" fmla="+- 0 10800 961"/>
              <a:gd name="T10" fmla="*/ T9 w 19679"/>
              <a:gd name="T11" fmla="*/ 10800 h 21600"/>
            </a:gdLst>
            <a:ahLst/>
            <a:cxnLst>
              <a:cxn ang="0">
                <a:pos x="T1" y="T2"/>
              </a:cxn>
              <a:cxn ang="0">
                <a:pos x="T4" y="T5"/>
              </a:cxn>
              <a:cxn ang="0">
                <a:pos x="T7" y="T8"/>
              </a:cxn>
              <a:cxn ang="0">
                <a:pos x="T10" y="T11"/>
              </a:cxn>
            </a:cxnLst>
            <a:rect l="0" t="0" r="r" b="b"/>
            <a:pathLst>
              <a:path w="19679" h="21600">
                <a:moveTo>
                  <a:pt x="9839" y="0"/>
                </a:moveTo>
                <a:cubicBezTo>
                  <a:pt x="7321" y="0"/>
                  <a:pt x="4803" y="937"/>
                  <a:pt x="2882" y="2813"/>
                </a:cubicBezTo>
                <a:cubicBezTo>
                  <a:pt x="-961" y="6566"/>
                  <a:pt x="-961" y="12653"/>
                  <a:pt x="2882" y="16406"/>
                </a:cubicBezTo>
                <a:cubicBezTo>
                  <a:pt x="4480" y="17967"/>
                  <a:pt x="6493" y="18867"/>
                  <a:pt x="8574" y="19129"/>
                </a:cubicBezTo>
                <a:lnTo>
                  <a:pt x="9839" y="21600"/>
                </a:lnTo>
                <a:lnTo>
                  <a:pt x="11104" y="19129"/>
                </a:lnTo>
                <a:cubicBezTo>
                  <a:pt x="13185" y="18867"/>
                  <a:pt x="15198" y="17967"/>
                  <a:pt x="16796" y="16406"/>
                </a:cubicBezTo>
                <a:cubicBezTo>
                  <a:pt x="20639" y="12653"/>
                  <a:pt x="20639" y="6566"/>
                  <a:pt x="16796" y="2813"/>
                </a:cubicBezTo>
                <a:cubicBezTo>
                  <a:pt x="14875" y="937"/>
                  <a:pt x="12357" y="0"/>
                  <a:pt x="9839" y="0"/>
                </a:cubicBezTo>
                <a:close/>
                <a:moveTo>
                  <a:pt x="9839" y="2266"/>
                </a:moveTo>
                <a:cubicBezTo>
                  <a:pt x="11763" y="2266"/>
                  <a:pt x="13686" y="2983"/>
                  <a:pt x="15154" y="4417"/>
                </a:cubicBezTo>
                <a:cubicBezTo>
                  <a:pt x="18090" y="7284"/>
                  <a:pt x="18090" y="11935"/>
                  <a:pt x="15154" y="14802"/>
                </a:cubicBezTo>
                <a:cubicBezTo>
                  <a:pt x="12218" y="17670"/>
                  <a:pt x="7460" y="17670"/>
                  <a:pt x="4524" y="14802"/>
                </a:cubicBezTo>
                <a:cubicBezTo>
                  <a:pt x="1588" y="11935"/>
                  <a:pt x="1588" y="7284"/>
                  <a:pt x="4524" y="4417"/>
                </a:cubicBezTo>
                <a:cubicBezTo>
                  <a:pt x="5992" y="2983"/>
                  <a:pt x="7915" y="2266"/>
                  <a:pt x="9839" y="2266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 cap="flat" cmpd="sng">
                <a:solidFill>
                  <a:srgbClr val="000000"/>
                </a:solidFill>
                <a:prstDash val="solid"/>
                <a:miter lim="4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50800" tIns="50800" rIns="50800" bIns="50800" anchor="ctr"/>
          <a:lstStyle/>
          <a:p>
            <a:endParaRPr lang="en-US" altLang="en-US" sz="2400" dirty="0">
              <a:solidFill>
                <a:schemeClr val="tx1">
                  <a:lumMod val="50000"/>
                </a:schemeClr>
              </a:solidFill>
              <a:latin typeface="Arial" panose="020B0604020202020204" pitchFamily="34" charset="0"/>
              <a:ea typeface="Helvetica Light" panose="020B0403020202020204" pitchFamily="34" charset="0"/>
              <a:cs typeface="Arial" panose="020B0604020202020204" pitchFamily="34" charset="0"/>
              <a:sym typeface="Helvetica Light" panose="020B0403020202020204" pitchFamily="34" charset="0"/>
            </a:endParaRPr>
          </a:p>
        </p:txBody>
      </p:sp>
      <p:sp>
        <p:nvSpPr>
          <p:cNvPr id="29" name="AutoShape 32">
            <a:extLst>
              <a:ext uri="{FF2B5EF4-FFF2-40B4-BE49-F238E27FC236}">
                <a16:creationId xmlns:a16="http://schemas.microsoft.com/office/drawing/2014/main" id="{E49D4CCA-80E1-BE42-F84E-5903A3C6117E}"/>
              </a:ext>
            </a:extLst>
          </p:cNvPr>
          <p:cNvSpPr>
            <a:spLocks/>
          </p:cNvSpPr>
          <p:nvPr/>
        </p:nvSpPr>
        <p:spPr bwMode="auto">
          <a:xfrm rot="10800000">
            <a:off x="3784359" y="2826417"/>
            <a:ext cx="1218717" cy="1230460"/>
          </a:xfrm>
          <a:custGeom>
            <a:avLst/>
            <a:gdLst>
              <a:gd name="T0" fmla="+- 0 10800 792"/>
              <a:gd name="T1" fmla="*/ T0 w 20016"/>
              <a:gd name="T2" fmla="+- 0 10781 17"/>
              <a:gd name="T3" fmla="*/ 10781 h 21529"/>
              <a:gd name="T4" fmla="+- 0 10800 792"/>
              <a:gd name="T5" fmla="*/ T4 w 20016"/>
              <a:gd name="T6" fmla="+- 0 10781 17"/>
              <a:gd name="T7" fmla="*/ 10781 h 21529"/>
              <a:gd name="T8" fmla="+- 0 10800 792"/>
              <a:gd name="T9" fmla="*/ T8 w 20016"/>
              <a:gd name="T10" fmla="+- 0 10781 17"/>
              <a:gd name="T11" fmla="*/ 10781 h 21529"/>
              <a:gd name="T12" fmla="+- 0 10800 792"/>
              <a:gd name="T13" fmla="*/ T12 w 20016"/>
              <a:gd name="T14" fmla="+- 0 10781 17"/>
              <a:gd name="T15" fmla="*/ 10781 h 21529"/>
            </a:gdLst>
            <a:ahLst/>
            <a:cxnLst>
              <a:cxn ang="0">
                <a:pos x="T1" y="T3"/>
              </a:cxn>
              <a:cxn ang="0">
                <a:pos x="T5" y="T7"/>
              </a:cxn>
              <a:cxn ang="0">
                <a:pos x="T9" y="T11"/>
              </a:cxn>
              <a:cxn ang="0">
                <a:pos x="T13" y="T15"/>
              </a:cxn>
            </a:cxnLst>
            <a:rect l="0" t="0" r="r" b="b"/>
            <a:pathLst>
              <a:path w="20016" h="21529">
                <a:moveTo>
                  <a:pt x="10331" y="5"/>
                </a:moveTo>
                <a:cubicBezTo>
                  <a:pt x="9667" y="-17"/>
                  <a:pt x="8989" y="33"/>
                  <a:pt x="8308" y="158"/>
                </a:cubicBezTo>
                <a:cubicBezTo>
                  <a:pt x="2862" y="1158"/>
                  <a:pt x="-792" y="6675"/>
                  <a:pt x="147" y="12476"/>
                </a:cubicBezTo>
                <a:cubicBezTo>
                  <a:pt x="538" y="14890"/>
                  <a:pt x="1668" y="16959"/>
                  <a:pt x="3240" y="18497"/>
                </a:cubicBezTo>
                <a:lnTo>
                  <a:pt x="2807" y="21529"/>
                </a:lnTo>
                <a:lnTo>
                  <a:pt x="5343" y="20080"/>
                </a:lnTo>
                <a:cubicBezTo>
                  <a:pt x="7229" y="21143"/>
                  <a:pt x="9442" y="21583"/>
                  <a:pt x="11708" y="21167"/>
                </a:cubicBezTo>
                <a:cubicBezTo>
                  <a:pt x="17154" y="20166"/>
                  <a:pt x="20808" y="14650"/>
                  <a:pt x="19869" y="8848"/>
                </a:cubicBezTo>
                <a:cubicBezTo>
                  <a:pt x="19399" y="5947"/>
                  <a:pt x="17869" y="3527"/>
                  <a:pt x="15777" y="1954"/>
                </a:cubicBezTo>
                <a:cubicBezTo>
                  <a:pt x="14207" y="774"/>
                  <a:pt x="12325" y="71"/>
                  <a:pt x="10331" y="5"/>
                </a:cubicBezTo>
                <a:close/>
                <a:moveTo>
                  <a:pt x="10255" y="2519"/>
                </a:moveTo>
                <a:cubicBezTo>
                  <a:pt x="13809" y="2636"/>
                  <a:pt x="16915" y="5399"/>
                  <a:pt x="17543" y="9278"/>
                </a:cubicBezTo>
                <a:cubicBezTo>
                  <a:pt x="18260" y="13710"/>
                  <a:pt x="15469" y="17924"/>
                  <a:pt x="11308" y="18689"/>
                </a:cubicBezTo>
                <a:cubicBezTo>
                  <a:pt x="7147" y="19453"/>
                  <a:pt x="3191" y="16479"/>
                  <a:pt x="2473" y="12047"/>
                </a:cubicBezTo>
                <a:cubicBezTo>
                  <a:pt x="1756" y="7614"/>
                  <a:pt x="4547" y="3400"/>
                  <a:pt x="8708" y="2636"/>
                </a:cubicBezTo>
                <a:cubicBezTo>
                  <a:pt x="9228" y="2540"/>
                  <a:pt x="9747" y="2502"/>
                  <a:pt x="10255" y="2519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 cap="flat" cmpd="sng">
                <a:solidFill>
                  <a:srgbClr val="000000"/>
                </a:solidFill>
                <a:prstDash val="solid"/>
                <a:miter lim="4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50800" tIns="50800" rIns="50800" bIns="50800" anchor="ctr"/>
          <a:lstStyle/>
          <a:p>
            <a:endParaRPr lang="en-US" altLang="en-US" sz="2400" dirty="0">
              <a:solidFill>
                <a:schemeClr val="tx1">
                  <a:lumMod val="50000"/>
                </a:schemeClr>
              </a:solidFill>
              <a:latin typeface="Arial" panose="020B0604020202020204" pitchFamily="34" charset="0"/>
              <a:ea typeface="Helvetica Light" panose="020B0403020202020204" pitchFamily="34" charset="0"/>
              <a:cs typeface="Arial" panose="020B0604020202020204" pitchFamily="34" charset="0"/>
              <a:sym typeface="Helvetica Light" panose="020B0403020202020204" pitchFamily="34" charset="0"/>
            </a:endParaRPr>
          </a:p>
        </p:txBody>
      </p:sp>
      <p:sp>
        <p:nvSpPr>
          <p:cNvPr id="30" name="AutoShape 33">
            <a:extLst>
              <a:ext uri="{FF2B5EF4-FFF2-40B4-BE49-F238E27FC236}">
                <a16:creationId xmlns:a16="http://schemas.microsoft.com/office/drawing/2014/main" id="{C5C13182-5143-8DB5-CD9C-74C2A0A74561}"/>
              </a:ext>
            </a:extLst>
          </p:cNvPr>
          <p:cNvSpPr>
            <a:spLocks/>
          </p:cNvSpPr>
          <p:nvPr/>
        </p:nvSpPr>
        <p:spPr bwMode="auto">
          <a:xfrm rot="10800000">
            <a:off x="7202024" y="2824336"/>
            <a:ext cx="1218666" cy="1218549"/>
          </a:xfrm>
          <a:custGeom>
            <a:avLst/>
            <a:gdLst>
              <a:gd name="T0" fmla="+- 0 10800 687"/>
              <a:gd name="T1" fmla="*/ T0 w 20226"/>
              <a:gd name="T2" fmla="+- 0 10727 93"/>
              <a:gd name="T3" fmla="*/ 10727 h 21268"/>
              <a:gd name="T4" fmla="+- 0 10800 687"/>
              <a:gd name="T5" fmla="*/ T4 w 20226"/>
              <a:gd name="T6" fmla="+- 0 10727 93"/>
              <a:gd name="T7" fmla="*/ 10727 h 21268"/>
              <a:gd name="T8" fmla="+- 0 10800 687"/>
              <a:gd name="T9" fmla="*/ T8 w 20226"/>
              <a:gd name="T10" fmla="+- 0 10727 93"/>
              <a:gd name="T11" fmla="*/ 10727 h 21268"/>
              <a:gd name="T12" fmla="+- 0 10800 687"/>
              <a:gd name="T13" fmla="*/ T12 w 20226"/>
              <a:gd name="T14" fmla="+- 0 10727 93"/>
              <a:gd name="T15" fmla="*/ 10727 h 21268"/>
            </a:gdLst>
            <a:ahLst/>
            <a:cxnLst>
              <a:cxn ang="0">
                <a:pos x="T1" y="T3"/>
              </a:cxn>
              <a:cxn ang="0">
                <a:pos x="T5" y="T7"/>
              </a:cxn>
              <a:cxn ang="0">
                <a:pos x="T9" y="T11"/>
              </a:cxn>
              <a:cxn ang="0">
                <a:pos x="T13" y="T15"/>
              </a:cxn>
            </a:cxnLst>
            <a:rect l="0" t="0" r="r" b="b"/>
            <a:pathLst>
              <a:path w="20226" h="21268">
                <a:moveTo>
                  <a:pt x="10512" y="9"/>
                </a:moveTo>
                <a:cubicBezTo>
                  <a:pt x="8123" y="-93"/>
                  <a:pt x="5858" y="702"/>
                  <a:pt x="4046" y="2130"/>
                </a:cubicBezTo>
                <a:cubicBezTo>
                  <a:pt x="1976" y="3763"/>
                  <a:pt x="497" y="6225"/>
                  <a:pt x="103" y="9132"/>
                </a:cubicBezTo>
                <a:cubicBezTo>
                  <a:pt x="-687" y="14945"/>
                  <a:pt x="3158" y="20331"/>
                  <a:pt x="8687" y="21162"/>
                </a:cubicBezTo>
                <a:cubicBezTo>
                  <a:pt x="10987" y="21507"/>
                  <a:pt x="13209" y="21001"/>
                  <a:pt x="15085" y="19883"/>
                </a:cubicBezTo>
                <a:lnTo>
                  <a:pt x="17685" y="21250"/>
                </a:lnTo>
                <a:lnTo>
                  <a:pt x="17163" y="18244"/>
                </a:lnTo>
                <a:cubicBezTo>
                  <a:pt x="18709" y="16662"/>
                  <a:pt x="19795" y="14560"/>
                  <a:pt x="20123" y="12142"/>
                </a:cubicBezTo>
                <a:cubicBezTo>
                  <a:pt x="20913" y="6328"/>
                  <a:pt x="17071" y="939"/>
                  <a:pt x="11543" y="108"/>
                </a:cubicBezTo>
                <a:cubicBezTo>
                  <a:pt x="11197" y="56"/>
                  <a:pt x="10853" y="24"/>
                  <a:pt x="10512" y="9"/>
                </a:cubicBezTo>
                <a:close/>
                <a:moveTo>
                  <a:pt x="10418" y="2516"/>
                </a:moveTo>
                <a:cubicBezTo>
                  <a:pt x="10679" y="2527"/>
                  <a:pt x="10942" y="2555"/>
                  <a:pt x="11206" y="2594"/>
                </a:cubicBezTo>
                <a:cubicBezTo>
                  <a:pt x="15430" y="3229"/>
                  <a:pt x="18366" y="7342"/>
                  <a:pt x="17763" y="11784"/>
                </a:cubicBezTo>
                <a:cubicBezTo>
                  <a:pt x="17159" y="16226"/>
                  <a:pt x="13244" y="19313"/>
                  <a:pt x="9020" y="18679"/>
                </a:cubicBezTo>
                <a:cubicBezTo>
                  <a:pt x="4796" y="18045"/>
                  <a:pt x="1863" y="13928"/>
                  <a:pt x="2467" y="9486"/>
                </a:cubicBezTo>
                <a:cubicBezTo>
                  <a:pt x="3032" y="5321"/>
                  <a:pt x="6505" y="2349"/>
                  <a:pt x="10418" y="2516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 cap="flat" cmpd="sng">
                <a:solidFill>
                  <a:srgbClr val="000000"/>
                </a:solidFill>
                <a:prstDash val="solid"/>
                <a:miter lim="4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50800" tIns="50800" rIns="50800" bIns="50800" anchor="ctr"/>
          <a:lstStyle/>
          <a:p>
            <a:endParaRPr lang="en-US" altLang="en-US" sz="2400" dirty="0">
              <a:solidFill>
                <a:schemeClr val="tx1">
                  <a:lumMod val="50000"/>
                </a:schemeClr>
              </a:solidFill>
              <a:latin typeface="Arial" panose="020B0604020202020204" pitchFamily="34" charset="0"/>
              <a:ea typeface="Helvetica Light" panose="020B0403020202020204" pitchFamily="34" charset="0"/>
              <a:cs typeface="Arial" panose="020B0604020202020204" pitchFamily="34" charset="0"/>
              <a:sym typeface="Helvetica Light" panose="020B0403020202020204" pitchFamily="34" charset="0"/>
            </a:endParaRPr>
          </a:p>
        </p:txBody>
      </p:sp>
      <p:sp>
        <p:nvSpPr>
          <p:cNvPr id="31" name="AutoShape 34">
            <a:extLst>
              <a:ext uri="{FF2B5EF4-FFF2-40B4-BE49-F238E27FC236}">
                <a16:creationId xmlns:a16="http://schemas.microsoft.com/office/drawing/2014/main" id="{3C7B3518-1C03-4675-53DC-5A18CE460A04}"/>
              </a:ext>
            </a:extLst>
          </p:cNvPr>
          <p:cNvSpPr>
            <a:spLocks/>
          </p:cNvSpPr>
          <p:nvPr/>
        </p:nvSpPr>
        <p:spPr bwMode="auto">
          <a:xfrm rot="10800000">
            <a:off x="8142400" y="1385252"/>
            <a:ext cx="1330559" cy="1218748"/>
          </a:xfrm>
          <a:custGeom>
            <a:avLst/>
            <a:gdLst>
              <a:gd name="T0" fmla="+- 0 10943 286"/>
              <a:gd name="T1" fmla="*/ T0 w 21314"/>
              <a:gd name="T2" fmla="+- 0 10114 50"/>
              <a:gd name="T3" fmla="*/ 10114 h 20129"/>
              <a:gd name="T4" fmla="+- 0 10943 286"/>
              <a:gd name="T5" fmla="*/ T4 w 21314"/>
              <a:gd name="T6" fmla="+- 0 10114 50"/>
              <a:gd name="T7" fmla="*/ 10114 h 20129"/>
              <a:gd name="T8" fmla="+- 0 10943 286"/>
              <a:gd name="T9" fmla="*/ T8 w 21314"/>
              <a:gd name="T10" fmla="+- 0 10114 50"/>
              <a:gd name="T11" fmla="*/ 10114 h 20129"/>
              <a:gd name="T12" fmla="+- 0 10943 286"/>
              <a:gd name="T13" fmla="*/ T12 w 21314"/>
              <a:gd name="T14" fmla="+- 0 10114 50"/>
              <a:gd name="T15" fmla="*/ 10114 h 20129"/>
            </a:gdLst>
            <a:ahLst/>
            <a:cxnLst>
              <a:cxn ang="0">
                <a:pos x="T1" y="T3"/>
              </a:cxn>
              <a:cxn ang="0">
                <a:pos x="T5" y="T7"/>
              </a:cxn>
              <a:cxn ang="0">
                <a:pos x="T9" y="T11"/>
              </a:cxn>
              <a:cxn ang="0">
                <a:pos x="T13" y="T15"/>
              </a:cxn>
            </a:cxnLst>
            <a:rect l="0" t="0" r="r" b="b"/>
            <a:pathLst>
              <a:path w="21314" h="20129">
                <a:moveTo>
                  <a:pt x="10091" y="6"/>
                </a:moveTo>
                <a:cubicBezTo>
                  <a:pt x="8517" y="-50"/>
                  <a:pt x="6911" y="286"/>
                  <a:pt x="5404" y="1062"/>
                </a:cubicBezTo>
                <a:cubicBezTo>
                  <a:pt x="2992" y="2303"/>
                  <a:pt x="1297" y="4433"/>
                  <a:pt x="505" y="6876"/>
                </a:cubicBezTo>
                <a:cubicBezTo>
                  <a:pt x="-286" y="9319"/>
                  <a:pt x="-175" y="12074"/>
                  <a:pt x="1029" y="14560"/>
                </a:cubicBezTo>
                <a:cubicBezTo>
                  <a:pt x="3436" y="19532"/>
                  <a:pt x="9302" y="21550"/>
                  <a:pt x="14124" y="19068"/>
                </a:cubicBezTo>
                <a:cubicBezTo>
                  <a:pt x="16130" y="18035"/>
                  <a:pt x="17628" y="16381"/>
                  <a:pt x="18535" y="14450"/>
                </a:cubicBezTo>
                <a:lnTo>
                  <a:pt x="21314" y="14041"/>
                </a:lnTo>
                <a:lnTo>
                  <a:pt x="19331" y="11997"/>
                </a:lnTo>
                <a:cubicBezTo>
                  <a:pt x="19733" y="9891"/>
                  <a:pt x="19498" y="7641"/>
                  <a:pt x="18496" y="5572"/>
                </a:cubicBezTo>
                <a:cubicBezTo>
                  <a:pt x="16841" y="2154"/>
                  <a:pt x="13551" y="130"/>
                  <a:pt x="10091" y="6"/>
                </a:cubicBezTo>
                <a:close/>
                <a:moveTo>
                  <a:pt x="10013" y="2379"/>
                </a:moveTo>
                <a:cubicBezTo>
                  <a:pt x="12656" y="2473"/>
                  <a:pt x="15171" y="4020"/>
                  <a:pt x="16435" y="6631"/>
                </a:cubicBezTo>
                <a:cubicBezTo>
                  <a:pt x="18275" y="10430"/>
                  <a:pt x="16778" y="15046"/>
                  <a:pt x="13094" y="16943"/>
                </a:cubicBezTo>
                <a:cubicBezTo>
                  <a:pt x="9409" y="18840"/>
                  <a:pt x="4929" y="17297"/>
                  <a:pt x="3089" y="13498"/>
                </a:cubicBezTo>
                <a:cubicBezTo>
                  <a:pt x="1250" y="9699"/>
                  <a:pt x="2746" y="5083"/>
                  <a:pt x="6431" y="3186"/>
                </a:cubicBezTo>
                <a:cubicBezTo>
                  <a:pt x="7582" y="2594"/>
                  <a:pt x="8811" y="2336"/>
                  <a:pt x="10013" y="2379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 cap="flat" cmpd="sng">
                <a:solidFill>
                  <a:srgbClr val="000000"/>
                </a:solidFill>
                <a:prstDash val="solid"/>
                <a:miter lim="4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50800" tIns="50800" rIns="50800" bIns="50800" anchor="ctr"/>
          <a:lstStyle/>
          <a:p>
            <a:endParaRPr lang="en-US" altLang="en-US" sz="2400" dirty="0">
              <a:solidFill>
                <a:schemeClr val="tx1">
                  <a:lumMod val="50000"/>
                </a:schemeClr>
              </a:solidFill>
              <a:latin typeface="Arial" panose="020B0604020202020204" pitchFamily="34" charset="0"/>
              <a:ea typeface="Helvetica Light" panose="020B0403020202020204" pitchFamily="34" charset="0"/>
              <a:cs typeface="Arial" panose="020B0604020202020204" pitchFamily="34" charset="0"/>
              <a:sym typeface="Helvetica Light" panose="020B0403020202020204" pitchFamily="34" charset="0"/>
            </a:endParaRPr>
          </a:p>
        </p:txBody>
      </p:sp>
      <p:sp>
        <p:nvSpPr>
          <p:cNvPr id="32" name="AutoShape 35">
            <a:extLst>
              <a:ext uri="{FF2B5EF4-FFF2-40B4-BE49-F238E27FC236}">
                <a16:creationId xmlns:a16="http://schemas.microsoft.com/office/drawing/2014/main" id="{07C1BAA5-50F0-2ADF-7D2D-4F0A91C498B2}"/>
              </a:ext>
            </a:extLst>
          </p:cNvPr>
          <p:cNvSpPr>
            <a:spLocks/>
          </p:cNvSpPr>
          <p:nvPr/>
        </p:nvSpPr>
        <p:spPr bwMode="auto">
          <a:xfrm rot="10800000">
            <a:off x="2721576" y="1385378"/>
            <a:ext cx="1331665" cy="1218731"/>
          </a:xfrm>
          <a:custGeom>
            <a:avLst/>
            <a:gdLst>
              <a:gd name="T0" fmla="*/ 10655 w 21311"/>
              <a:gd name="T1" fmla="+- 0 10110 44"/>
              <a:gd name="T2" fmla="*/ 10110 h 20133"/>
              <a:gd name="T3" fmla="*/ 10655 w 21311"/>
              <a:gd name="T4" fmla="+- 0 10110 44"/>
              <a:gd name="T5" fmla="*/ 10110 h 20133"/>
              <a:gd name="T6" fmla="*/ 10655 w 21311"/>
              <a:gd name="T7" fmla="+- 0 10110 44"/>
              <a:gd name="T8" fmla="*/ 10110 h 20133"/>
              <a:gd name="T9" fmla="*/ 10655 w 21311"/>
              <a:gd name="T10" fmla="+- 0 10110 44"/>
              <a:gd name="T11" fmla="*/ 10110 h 20133"/>
            </a:gdLst>
            <a:ahLst/>
            <a:cxnLst>
              <a:cxn ang="0">
                <a:pos x="T0" y="T2"/>
              </a:cxn>
              <a:cxn ang="0">
                <a:pos x="T3" y="T5"/>
              </a:cxn>
              <a:cxn ang="0">
                <a:pos x="T6" y="T8"/>
              </a:cxn>
              <a:cxn ang="0">
                <a:pos x="T9" y="T11"/>
              </a:cxn>
            </a:cxnLst>
            <a:rect l="0" t="0" r="r" b="b"/>
            <a:pathLst>
              <a:path w="21311" h="20133">
                <a:moveTo>
                  <a:pt x="11277" y="4"/>
                </a:moveTo>
                <a:cubicBezTo>
                  <a:pt x="7820" y="111"/>
                  <a:pt x="4524" y="2117"/>
                  <a:pt x="2854" y="5528"/>
                </a:cubicBezTo>
                <a:cubicBezTo>
                  <a:pt x="1844" y="7592"/>
                  <a:pt x="1599" y="9842"/>
                  <a:pt x="1991" y="11950"/>
                </a:cubicBezTo>
                <a:lnTo>
                  <a:pt x="0" y="13988"/>
                </a:lnTo>
                <a:lnTo>
                  <a:pt x="2773" y="14410"/>
                </a:lnTo>
                <a:cubicBezTo>
                  <a:pt x="3670" y="16347"/>
                  <a:pt x="5161" y="18007"/>
                  <a:pt x="7160" y="19049"/>
                </a:cubicBezTo>
                <a:cubicBezTo>
                  <a:pt x="11966" y="21556"/>
                  <a:pt x="17834" y="19566"/>
                  <a:pt x="20262" y="14605"/>
                </a:cubicBezTo>
                <a:cubicBezTo>
                  <a:pt x="21477" y="12124"/>
                  <a:pt x="21600" y="9373"/>
                  <a:pt x="20821" y="6926"/>
                </a:cubicBezTo>
                <a:cubicBezTo>
                  <a:pt x="20042" y="4479"/>
                  <a:pt x="18360" y="2337"/>
                  <a:pt x="15957" y="1084"/>
                </a:cubicBezTo>
                <a:cubicBezTo>
                  <a:pt x="14455" y="300"/>
                  <a:pt x="12849" y="-44"/>
                  <a:pt x="11277" y="4"/>
                </a:cubicBezTo>
                <a:close/>
                <a:moveTo>
                  <a:pt x="11342" y="2381"/>
                </a:moveTo>
                <a:cubicBezTo>
                  <a:pt x="12543" y="2344"/>
                  <a:pt x="13770" y="2607"/>
                  <a:pt x="14917" y="3205"/>
                </a:cubicBezTo>
                <a:cubicBezTo>
                  <a:pt x="18590" y="5121"/>
                  <a:pt x="20062" y="9745"/>
                  <a:pt x="18207" y="13536"/>
                </a:cubicBezTo>
                <a:cubicBezTo>
                  <a:pt x="16352" y="17326"/>
                  <a:pt x="11871" y="18846"/>
                  <a:pt x="8199" y="16931"/>
                </a:cubicBezTo>
                <a:cubicBezTo>
                  <a:pt x="4527" y="15016"/>
                  <a:pt x="3054" y="10391"/>
                  <a:pt x="4910" y="6601"/>
                </a:cubicBezTo>
                <a:cubicBezTo>
                  <a:pt x="6185" y="3995"/>
                  <a:pt x="8701" y="2462"/>
                  <a:pt x="11342" y="238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 cap="flat" cmpd="sng">
                <a:solidFill>
                  <a:srgbClr val="000000"/>
                </a:solidFill>
                <a:prstDash val="solid"/>
                <a:miter lim="4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50800" tIns="50800" rIns="50800" bIns="50800" anchor="ctr"/>
          <a:lstStyle/>
          <a:p>
            <a:endParaRPr lang="en-US" altLang="en-US" sz="2400" dirty="0">
              <a:solidFill>
                <a:schemeClr val="tx1">
                  <a:lumMod val="50000"/>
                </a:schemeClr>
              </a:solidFill>
              <a:latin typeface="Arial" panose="020B0604020202020204" pitchFamily="34" charset="0"/>
              <a:ea typeface="Helvetica Light" panose="020B0403020202020204" pitchFamily="34" charset="0"/>
              <a:cs typeface="Arial" panose="020B0604020202020204" pitchFamily="34" charset="0"/>
              <a:sym typeface="Helvetica Light" panose="020B0403020202020204" pitchFamily="34" charset="0"/>
            </a:endParaRPr>
          </a:p>
        </p:txBody>
      </p:sp>
      <p:sp>
        <p:nvSpPr>
          <p:cNvPr id="33" name="Text Box 36">
            <a:extLst>
              <a:ext uri="{FF2B5EF4-FFF2-40B4-BE49-F238E27FC236}">
                <a16:creationId xmlns:a16="http://schemas.microsoft.com/office/drawing/2014/main" id="{BB51A602-8438-E5DE-65E5-BC6F38EABCFC}"/>
              </a:ext>
            </a:extLst>
          </p:cNvPr>
          <p:cNvSpPr txBox="1">
            <a:spLocks/>
          </p:cNvSpPr>
          <p:nvPr/>
        </p:nvSpPr>
        <p:spPr bwMode="auto">
          <a:xfrm>
            <a:off x="8293973" y="1604776"/>
            <a:ext cx="1130380" cy="7797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>
                <a:solidFill>
                  <a:srgbClr val="000000"/>
                </a:solidFill>
                <a:prstDash val="solid"/>
                <a:miter lim="4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50800" tIns="50800" rIns="50800" bIns="50800" anchor="ctr">
            <a:spAutoFit/>
          </a:bodyPr>
          <a:lstStyle/>
          <a:p>
            <a:pPr algn="ctr"/>
            <a:r>
              <a:rPr lang="en-US" altLang="en-US" sz="4400" dirty="0">
                <a:solidFill>
                  <a:schemeClr val="tx1">
                    <a:lumMod val="50000"/>
                  </a:schemeClr>
                </a:solidFill>
                <a:latin typeface="+mj-lt"/>
                <a:ea typeface="Roboto Medium" panose="02000000000000000000" pitchFamily="2" charset="0"/>
                <a:cs typeface="Arial" panose="020B0604020202020204" pitchFamily="34" charset="0"/>
                <a:sym typeface="Arial" panose="020B0604020202020204" pitchFamily="34" charset="0"/>
              </a:rPr>
              <a:t>5</a:t>
            </a:r>
          </a:p>
        </p:txBody>
      </p:sp>
      <p:sp>
        <p:nvSpPr>
          <p:cNvPr id="34" name="Text Box 37">
            <a:extLst>
              <a:ext uri="{FF2B5EF4-FFF2-40B4-BE49-F238E27FC236}">
                <a16:creationId xmlns:a16="http://schemas.microsoft.com/office/drawing/2014/main" id="{535053B8-13ED-1749-1299-728B2048FE44}"/>
              </a:ext>
            </a:extLst>
          </p:cNvPr>
          <p:cNvSpPr txBox="1">
            <a:spLocks/>
          </p:cNvSpPr>
          <p:nvPr/>
        </p:nvSpPr>
        <p:spPr bwMode="auto">
          <a:xfrm>
            <a:off x="2776767" y="1609105"/>
            <a:ext cx="1130380" cy="7797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>
                <a:solidFill>
                  <a:srgbClr val="000000"/>
                </a:solidFill>
                <a:prstDash val="solid"/>
                <a:miter lim="4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50800" tIns="50800" rIns="50800" bIns="50800" anchor="ctr">
            <a:spAutoFit/>
          </a:bodyPr>
          <a:lstStyle/>
          <a:p>
            <a:pPr algn="ctr"/>
            <a:r>
              <a:rPr lang="en-US" altLang="en-US" sz="4400" dirty="0">
                <a:solidFill>
                  <a:schemeClr val="tx1">
                    <a:lumMod val="50000"/>
                  </a:schemeClr>
                </a:solidFill>
                <a:latin typeface="+mj-lt"/>
                <a:ea typeface="Roboto Medium" panose="02000000000000000000" pitchFamily="2" charset="0"/>
                <a:cs typeface="Arial" panose="020B0604020202020204" pitchFamily="34" charset="0"/>
                <a:sym typeface="Arial" panose="020B0604020202020204" pitchFamily="34" charset="0"/>
              </a:rPr>
              <a:t>1</a:t>
            </a:r>
          </a:p>
        </p:txBody>
      </p:sp>
      <p:sp>
        <p:nvSpPr>
          <p:cNvPr id="35" name="Text Box 38">
            <a:extLst>
              <a:ext uri="{FF2B5EF4-FFF2-40B4-BE49-F238E27FC236}">
                <a16:creationId xmlns:a16="http://schemas.microsoft.com/office/drawing/2014/main" id="{0D11AE4B-75DD-47A3-4CB0-C2BA87AE9123}"/>
              </a:ext>
            </a:extLst>
          </p:cNvPr>
          <p:cNvSpPr txBox="1">
            <a:spLocks/>
          </p:cNvSpPr>
          <p:nvPr/>
        </p:nvSpPr>
        <p:spPr bwMode="auto">
          <a:xfrm>
            <a:off x="3828527" y="3051797"/>
            <a:ext cx="1130380" cy="7797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>
                <a:solidFill>
                  <a:srgbClr val="000000"/>
                </a:solidFill>
                <a:prstDash val="solid"/>
                <a:miter lim="4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50800" tIns="50800" rIns="50800" bIns="50800" anchor="ctr">
            <a:spAutoFit/>
          </a:bodyPr>
          <a:lstStyle/>
          <a:p>
            <a:pPr algn="ctr"/>
            <a:r>
              <a:rPr lang="en-US" altLang="en-US" sz="4400" dirty="0">
                <a:solidFill>
                  <a:schemeClr val="tx1">
                    <a:lumMod val="50000"/>
                  </a:schemeClr>
                </a:solidFill>
                <a:latin typeface="+mj-lt"/>
                <a:ea typeface="Roboto Medium" panose="02000000000000000000" pitchFamily="2" charset="0"/>
                <a:cs typeface="Arial" panose="020B0604020202020204" pitchFamily="34" charset="0"/>
                <a:sym typeface="Arial" panose="020B0604020202020204" pitchFamily="34" charset="0"/>
              </a:rPr>
              <a:t>2</a:t>
            </a:r>
          </a:p>
        </p:txBody>
      </p:sp>
      <p:sp>
        <p:nvSpPr>
          <p:cNvPr id="36" name="Text Box 39">
            <a:extLst>
              <a:ext uri="{FF2B5EF4-FFF2-40B4-BE49-F238E27FC236}">
                <a16:creationId xmlns:a16="http://schemas.microsoft.com/office/drawing/2014/main" id="{7B54A838-D775-3D8F-098E-F84C040E9055}"/>
              </a:ext>
            </a:extLst>
          </p:cNvPr>
          <p:cNvSpPr txBox="1">
            <a:spLocks/>
          </p:cNvSpPr>
          <p:nvPr/>
        </p:nvSpPr>
        <p:spPr bwMode="auto">
          <a:xfrm>
            <a:off x="7239675" y="3043761"/>
            <a:ext cx="1130380" cy="7797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>
                <a:solidFill>
                  <a:srgbClr val="000000"/>
                </a:solidFill>
                <a:prstDash val="solid"/>
                <a:miter lim="4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50800" tIns="50800" rIns="50800" bIns="50800" anchor="ctr">
            <a:spAutoFit/>
          </a:bodyPr>
          <a:lstStyle/>
          <a:p>
            <a:pPr algn="ctr"/>
            <a:r>
              <a:rPr lang="en-US" altLang="en-US" sz="4400" dirty="0">
                <a:solidFill>
                  <a:schemeClr val="tx1">
                    <a:lumMod val="50000"/>
                  </a:schemeClr>
                </a:solidFill>
                <a:latin typeface="+mj-lt"/>
                <a:ea typeface="Roboto Medium" panose="02000000000000000000" pitchFamily="2" charset="0"/>
                <a:cs typeface="Arial" panose="020B0604020202020204" pitchFamily="34" charset="0"/>
                <a:sym typeface="Arial" panose="020B0604020202020204" pitchFamily="34" charset="0"/>
              </a:rPr>
              <a:t>4</a:t>
            </a:r>
          </a:p>
        </p:txBody>
      </p:sp>
      <p:sp>
        <p:nvSpPr>
          <p:cNvPr id="37" name="Text Box 40">
            <a:extLst>
              <a:ext uri="{FF2B5EF4-FFF2-40B4-BE49-F238E27FC236}">
                <a16:creationId xmlns:a16="http://schemas.microsoft.com/office/drawing/2014/main" id="{96FF9A94-2357-39F5-BE68-972DAC93AD6F}"/>
              </a:ext>
            </a:extLst>
          </p:cNvPr>
          <p:cNvSpPr txBox="1">
            <a:spLocks/>
          </p:cNvSpPr>
          <p:nvPr/>
        </p:nvSpPr>
        <p:spPr bwMode="auto">
          <a:xfrm>
            <a:off x="5538620" y="3610635"/>
            <a:ext cx="1130380" cy="7797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>
                <a:solidFill>
                  <a:srgbClr val="000000"/>
                </a:solidFill>
                <a:prstDash val="solid"/>
                <a:miter lim="4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50800" tIns="50800" rIns="50800" bIns="50800" anchor="ctr">
            <a:spAutoFit/>
          </a:bodyPr>
          <a:lstStyle/>
          <a:p>
            <a:pPr algn="ctr"/>
            <a:r>
              <a:rPr lang="en-US" altLang="en-US" sz="4400" dirty="0">
                <a:solidFill>
                  <a:schemeClr val="tx1">
                    <a:lumMod val="50000"/>
                  </a:schemeClr>
                </a:solidFill>
                <a:latin typeface="+mj-lt"/>
                <a:ea typeface="Roboto Medium" panose="02000000000000000000" pitchFamily="2" charset="0"/>
                <a:cs typeface="Arial" panose="020B0604020202020204" pitchFamily="34" charset="0"/>
                <a:sym typeface="Arial" panose="020B0604020202020204" pitchFamily="34" charset="0"/>
              </a:rPr>
              <a:t>3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924C763-D89C-E6C8-7C01-06FC9A572726}"/>
              </a:ext>
            </a:extLst>
          </p:cNvPr>
          <p:cNvSpPr txBox="1"/>
          <p:nvPr/>
        </p:nvSpPr>
        <p:spPr>
          <a:xfrm>
            <a:off x="9624531" y="1955534"/>
            <a:ext cx="239748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dirty="0">
                <a:ea typeface="Lato Light" panose="020F0502020204030203" pitchFamily="34" charset="0"/>
                <a:cs typeface="Lato Light" panose="020F0502020204030203" pitchFamily="34" charset="0"/>
              </a:rPr>
              <a:t>Text </a:t>
            </a:r>
            <a:r>
              <a:rPr lang="en-US" sz="18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8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18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8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18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8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18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8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18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8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18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8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18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8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18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8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751841AF-9385-EAEC-6FB7-96C5CD224AD8}"/>
              </a:ext>
            </a:extLst>
          </p:cNvPr>
          <p:cNvSpPr/>
          <p:nvPr/>
        </p:nvSpPr>
        <p:spPr>
          <a:xfrm>
            <a:off x="9624531" y="1623690"/>
            <a:ext cx="1524086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b="1" dirty="0">
                <a:solidFill>
                  <a:schemeClr val="tx1">
                    <a:lumMod val="50000"/>
                  </a:schemeClr>
                </a:solidFill>
                <a:latin typeface="+mj-lt"/>
                <a:ea typeface="Roboto Medium" panose="02000000000000000000" pitchFamily="2" charset="0"/>
                <a:cs typeface="Arial" panose="020B0604020202020204" pitchFamily="34" charset="0"/>
              </a:rPr>
              <a:t>Heading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821912F5-ACA9-B63B-C77D-2DEAF37E3F13}"/>
              </a:ext>
            </a:extLst>
          </p:cNvPr>
          <p:cNvSpPr txBox="1"/>
          <p:nvPr/>
        </p:nvSpPr>
        <p:spPr>
          <a:xfrm flipH="1">
            <a:off x="169986" y="1955534"/>
            <a:ext cx="240001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800" dirty="0">
                <a:ea typeface="Lato Light" panose="020F0502020204030203" pitchFamily="34" charset="0"/>
                <a:cs typeface="Lato Light" panose="020F0502020204030203" pitchFamily="34" charset="0"/>
              </a:rPr>
              <a:t>Text </a:t>
            </a:r>
            <a:r>
              <a:rPr lang="en-US" sz="18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8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18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8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18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8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18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8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18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8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18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8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18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8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18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8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7EBB3BCD-11F0-84A1-A885-B06CFF06CB01}"/>
              </a:ext>
            </a:extLst>
          </p:cNvPr>
          <p:cNvSpPr/>
          <p:nvPr/>
        </p:nvSpPr>
        <p:spPr>
          <a:xfrm flipH="1">
            <a:off x="1045917" y="1623690"/>
            <a:ext cx="1524086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z="1600" b="1" dirty="0">
                <a:solidFill>
                  <a:schemeClr val="tx1">
                    <a:lumMod val="50000"/>
                  </a:schemeClr>
                </a:solidFill>
                <a:latin typeface="+mj-lt"/>
                <a:ea typeface="Roboto Medium" panose="02000000000000000000" pitchFamily="2" charset="0"/>
                <a:cs typeface="Arial" panose="020B0604020202020204" pitchFamily="34" charset="0"/>
              </a:rPr>
              <a:t>Heading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D880EA32-4815-13FD-743D-9A2746ACF4BD}"/>
              </a:ext>
            </a:extLst>
          </p:cNvPr>
          <p:cNvSpPr txBox="1"/>
          <p:nvPr/>
        </p:nvSpPr>
        <p:spPr>
          <a:xfrm>
            <a:off x="8565999" y="3342728"/>
            <a:ext cx="239748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dirty="0">
                <a:ea typeface="Lato Light" panose="020F0502020204030203" pitchFamily="34" charset="0"/>
                <a:cs typeface="Lato Light" panose="020F0502020204030203" pitchFamily="34" charset="0"/>
              </a:rPr>
              <a:t>Text </a:t>
            </a:r>
            <a:r>
              <a:rPr lang="en-US" sz="18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8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18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8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18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8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18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8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18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8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18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8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18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8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18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8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DC13F969-F28B-932B-1B2C-7F832A6A4375}"/>
              </a:ext>
            </a:extLst>
          </p:cNvPr>
          <p:cNvSpPr/>
          <p:nvPr/>
        </p:nvSpPr>
        <p:spPr>
          <a:xfrm>
            <a:off x="8565999" y="3010884"/>
            <a:ext cx="1984308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b="1" dirty="0">
                <a:solidFill>
                  <a:schemeClr val="tx1">
                    <a:lumMod val="50000"/>
                  </a:schemeClr>
                </a:solidFill>
                <a:latin typeface="+mj-lt"/>
                <a:ea typeface="Roboto Medium" panose="02000000000000000000" pitchFamily="2" charset="0"/>
                <a:cs typeface="Arial" panose="020B0604020202020204" pitchFamily="34" charset="0"/>
              </a:rPr>
              <a:t>Headin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9952B5F-75C0-9BBA-38E8-E82468EE500F}"/>
              </a:ext>
            </a:extLst>
          </p:cNvPr>
          <p:cNvSpPr txBox="1"/>
          <p:nvPr/>
        </p:nvSpPr>
        <p:spPr>
          <a:xfrm flipH="1">
            <a:off x="1241377" y="3342728"/>
            <a:ext cx="239748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800" dirty="0">
                <a:ea typeface="Lato Light" panose="020F0502020204030203" pitchFamily="34" charset="0"/>
                <a:cs typeface="Lato Light" panose="020F0502020204030203" pitchFamily="34" charset="0"/>
              </a:rPr>
              <a:t>Text </a:t>
            </a:r>
            <a:r>
              <a:rPr lang="en-US" sz="18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8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18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8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18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8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18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8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18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8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18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8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18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8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18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8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DEBB8385-19E3-EFBD-0EDC-02A96C372C90}"/>
              </a:ext>
            </a:extLst>
          </p:cNvPr>
          <p:cNvSpPr/>
          <p:nvPr/>
        </p:nvSpPr>
        <p:spPr>
          <a:xfrm flipH="1">
            <a:off x="2114775" y="3010884"/>
            <a:ext cx="1524086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z="1600" b="1" dirty="0">
                <a:solidFill>
                  <a:schemeClr val="tx1">
                    <a:lumMod val="50000"/>
                  </a:schemeClr>
                </a:solidFill>
                <a:latin typeface="+mj-lt"/>
                <a:ea typeface="Roboto Medium" panose="02000000000000000000" pitchFamily="2" charset="0"/>
                <a:cs typeface="Arial" panose="020B0604020202020204" pitchFamily="34" charset="0"/>
              </a:rPr>
              <a:t>Heading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3B0E9680-A8DE-C741-2E9C-7807F7913BE0}"/>
              </a:ext>
            </a:extLst>
          </p:cNvPr>
          <p:cNvSpPr txBox="1"/>
          <p:nvPr/>
        </p:nvSpPr>
        <p:spPr>
          <a:xfrm>
            <a:off x="4905067" y="5047889"/>
            <a:ext cx="239748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800" dirty="0">
                <a:ea typeface="Lato Light" panose="020F0502020204030203" pitchFamily="34" charset="0"/>
                <a:cs typeface="Lato Light" panose="020F0502020204030203" pitchFamily="34" charset="0"/>
              </a:rPr>
              <a:t>Text </a:t>
            </a:r>
            <a:r>
              <a:rPr lang="en-US" sz="18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8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18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8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18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8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18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8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18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8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18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8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18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8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18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8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EEE9F84E-6588-75A6-1673-8FD97885A09A}"/>
              </a:ext>
            </a:extLst>
          </p:cNvPr>
          <p:cNvSpPr/>
          <p:nvPr/>
        </p:nvSpPr>
        <p:spPr>
          <a:xfrm>
            <a:off x="5111655" y="4716045"/>
            <a:ext cx="1984308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600" b="1" dirty="0">
                <a:solidFill>
                  <a:schemeClr val="tx1">
                    <a:lumMod val="50000"/>
                  </a:schemeClr>
                </a:solidFill>
                <a:latin typeface="+mj-lt"/>
                <a:ea typeface="Roboto Medium" panose="02000000000000000000" pitchFamily="2" charset="0"/>
                <a:cs typeface="Arial" panose="020B0604020202020204" pitchFamily="34" charset="0"/>
              </a:rPr>
              <a:t>Heading</a:t>
            </a:r>
          </a:p>
        </p:txBody>
      </p:sp>
    </p:spTree>
    <p:extLst>
      <p:ext uri="{BB962C8B-B14F-4D97-AF65-F5344CB8AC3E}">
        <p14:creationId xmlns:p14="http://schemas.microsoft.com/office/powerpoint/2010/main" val="345922708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01F54"/>
      </a:accent1>
      <a:accent2>
        <a:srgbClr val="054990"/>
      </a:accent2>
      <a:accent3>
        <a:srgbClr val="3F7CB2"/>
      </a:accent3>
      <a:accent4>
        <a:srgbClr val="81A4CC"/>
      </a:accent4>
      <a:accent5>
        <a:srgbClr val="034078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994</TotalTime>
  <Words>57</Words>
  <Application>Microsoft Office PowerPoint</Application>
  <PresentationFormat>Widescreen</PresentationFormat>
  <Paragraphs>17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0" baseType="lpstr">
      <vt:lpstr>Arial</vt:lpstr>
      <vt:lpstr>Calibri</vt:lpstr>
      <vt:lpstr>Courier New</vt:lpstr>
      <vt:lpstr>Crimson Pro</vt:lpstr>
      <vt:lpstr>Lato Light</vt:lpstr>
      <vt:lpstr>Roboto</vt:lpstr>
      <vt:lpstr>Wingdings</vt:lpstr>
      <vt:lpstr>Office Theme</vt:lpstr>
      <vt:lpstr>think-cell Slide</vt:lpstr>
      <vt:lpstr>Circle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trategy Template</dc:title>
  <dc:subject/>
  <dc:creator>Analyst Academy LLC</dc:creator>
  <cp:keywords/>
  <dc:description/>
  <cp:lastModifiedBy>Diam Cabatay</cp:lastModifiedBy>
  <cp:revision>499</cp:revision>
  <dcterms:created xsi:type="dcterms:W3CDTF">2021-03-31T02:49:57Z</dcterms:created>
  <dcterms:modified xsi:type="dcterms:W3CDTF">2025-10-16T10:56:22Z</dcterms:modified>
  <cp:category/>
</cp:coreProperties>
</file>